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5"/>
  </p:notesMasterIdLst>
  <p:handoutMasterIdLst>
    <p:handoutMasterId r:id="rId6"/>
  </p:handoutMasterIdLst>
  <p:sldIdLst>
    <p:sldId id="684" r:id="rId2"/>
    <p:sldId id="722" r:id="rId3"/>
    <p:sldId id="724" r:id="rId4"/>
  </p:sldIdLst>
  <p:sldSz cx="9602788" cy="6858000"/>
  <p:notesSz cx="7315200" cy="9601200"/>
  <p:custDataLst>
    <p:tags r:id="rId7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EBFFEB"/>
    <a:srgbClr val="FFFFCC"/>
    <a:srgbClr val="CCFFCC"/>
    <a:srgbClr val="008AB3"/>
    <a:srgbClr val="E8F6E6"/>
    <a:srgbClr val="A6E2EF"/>
    <a:srgbClr val="FCE0E2"/>
    <a:srgbClr val="BFBFBF"/>
    <a:srgbClr val="00A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27" autoAdjust="0"/>
    <p:restoredTop sz="99858" autoAdjust="0"/>
  </p:normalViewPr>
  <p:slideViewPr>
    <p:cSldViewPr snapToGrid="0" showGuides="1">
      <p:cViewPr varScale="1">
        <p:scale>
          <a:sx n="75" d="100"/>
          <a:sy n="75" d="100"/>
        </p:scale>
        <p:origin x="-1392" y="-96"/>
      </p:cViewPr>
      <p:guideLst>
        <p:guide orient="horz" pos="242"/>
        <p:guide orient="horz" pos="1662"/>
        <p:guide orient="horz" pos="3989"/>
        <p:guide orient="horz" pos="1445"/>
        <p:guide orient="horz" pos="1113"/>
        <p:guide orient="horz" pos="926"/>
        <p:guide orient="horz" pos="3295"/>
        <p:guide pos="221"/>
        <p:guide pos="5825"/>
        <p:guide pos="3021"/>
        <p:guide pos="3252"/>
        <p:guide pos="2811"/>
        <p:guide pos="38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3024"/>
        <p:guide pos="230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t" anchorCtr="0" compatLnSpc="1">
            <a:prstTxWarp prst="textNoShape">
              <a:avLst/>
            </a:prstTxWarp>
          </a:bodyPr>
          <a:lstStyle>
            <a:lvl1pPr algn="l" defTabSz="980116">
              <a:lnSpc>
                <a:spcPct val="100000"/>
              </a:lnSpc>
              <a:defRPr sz="13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3740" y="3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t" anchorCtr="0" compatLnSpc="1">
            <a:prstTxWarp prst="textNoShape">
              <a:avLst/>
            </a:prstTxWarp>
          </a:bodyPr>
          <a:lstStyle>
            <a:lvl1pPr algn="r" defTabSz="980116">
              <a:lnSpc>
                <a:spcPct val="100000"/>
              </a:lnSpc>
              <a:defRPr sz="13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119832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b" anchorCtr="0" compatLnSpc="1">
            <a:prstTxWarp prst="textNoShape">
              <a:avLst/>
            </a:prstTxWarp>
          </a:bodyPr>
          <a:lstStyle>
            <a:lvl1pPr algn="l" defTabSz="980116">
              <a:lnSpc>
                <a:spcPct val="100000"/>
              </a:lnSpc>
              <a:defRPr sz="13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3740" y="9119832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b" anchorCtr="0" compatLnSpc="1">
            <a:prstTxWarp prst="textNoShape">
              <a:avLst/>
            </a:prstTxWarp>
          </a:bodyPr>
          <a:lstStyle>
            <a:lvl1pPr algn="r" defTabSz="980116">
              <a:lnSpc>
                <a:spcPct val="100000"/>
              </a:lnSpc>
              <a:defRPr sz="13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t" anchorCtr="0" compatLnSpc="1">
            <a:prstTxWarp prst="textNoShape">
              <a:avLst/>
            </a:prstTxWarp>
          </a:bodyPr>
          <a:lstStyle>
            <a:lvl1pPr algn="l" defTabSz="980116">
              <a:lnSpc>
                <a:spcPct val="100000"/>
              </a:lnSpc>
              <a:defRPr sz="13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740" y="3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t" anchorCtr="0" compatLnSpc="1">
            <a:prstTxWarp prst="textNoShape">
              <a:avLst/>
            </a:prstTxWarp>
          </a:bodyPr>
          <a:lstStyle>
            <a:lvl1pPr algn="r" defTabSz="980116">
              <a:lnSpc>
                <a:spcPct val="100000"/>
              </a:lnSpc>
              <a:defRPr sz="13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36650" y="719138"/>
            <a:ext cx="5045075" cy="3603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0864" y="4559916"/>
            <a:ext cx="5853481" cy="4320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38502" lvl="0" indent="-238502" eaLnBrk="1" hangingPunct="1">
              <a:spcBef>
                <a:spcPct val="60000"/>
              </a:spcBef>
              <a:spcAft>
                <a:spcPts val="627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38502" eaLnBrk="1" hangingPunct="1">
              <a:spcBef>
                <a:spcPts val="0"/>
              </a:spcBef>
              <a:spcAft>
                <a:spcPts val="627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715506" lvl="2" indent="-238502" eaLnBrk="1" hangingPunct="1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54007" lvl="3" indent="-238502" eaLnBrk="1" hangingPunct="1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92510" lvl="4" indent="-238502" eaLnBrk="1" hangingPunct="1">
              <a:spcBef>
                <a:spcPts val="0"/>
              </a:spcBef>
              <a:spcAft>
                <a:spcPts val="627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431011" lvl="5" indent="-238502" fontAlgn="base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69513" lvl="6" indent="-238502" fontAlgn="base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908016" lvl="7" indent="-238502" fontAlgn="base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146518" lvl="8" indent="-238502" fontAlgn="base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119832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b" anchorCtr="0" compatLnSpc="1">
            <a:prstTxWarp prst="textNoShape">
              <a:avLst/>
            </a:prstTxWarp>
          </a:bodyPr>
          <a:lstStyle>
            <a:lvl1pPr algn="l" defTabSz="980116">
              <a:lnSpc>
                <a:spcPct val="100000"/>
              </a:lnSpc>
              <a:defRPr sz="13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740" y="9119832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b" anchorCtr="0" compatLnSpc="1">
            <a:prstTxWarp prst="textNoShape">
              <a:avLst/>
            </a:prstTxWarp>
          </a:bodyPr>
          <a:lstStyle>
            <a:lvl1pPr algn="r" defTabSz="980116">
              <a:lnSpc>
                <a:spcPct val="100000"/>
              </a:lnSpc>
              <a:defRPr sz="13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520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9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92347" y="6321262"/>
            <a:ext cx="1537600" cy="2908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Bank, N.A.</a:t>
            </a:r>
            <a:endParaRPr lang="en-US" sz="1500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507600" y="6017080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  <p:sldLayoutId id="2147483783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/>
                <a:cs typeface="Arial"/>
              </a:rPr>
              <a:t>P-19 SBNA Risk Appetite Quantitative Limit Test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eaLnBrk="0" hangingPunct="0">
              <a:lnSpc>
                <a:spcPts val="2700"/>
              </a:lnSpc>
              <a:spcAft>
                <a:spcPts val="600"/>
              </a:spcAft>
            </a:pPr>
            <a:r>
              <a:rPr lang="en-US" dirty="0" smtClean="0">
                <a:solidFill>
                  <a:prstClr val="black"/>
                </a:solidFill>
              </a:rPr>
              <a:t>Round 2</a:t>
            </a:r>
            <a:endParaRPr lang="en-US" b="0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mtClean="0"/>
              <a:t>Sept </a:t>
            </a:r>
            <a:r>
              <a:rPr lang="en-GB" dirty="0"/>
              <a:t>9</a:t>
            </a:r>
            <a:r>
              <a:rPr lang="en-GB" smtClean="0"/>
              <a:t>, </a:t>
            </a:r>
            <a:r>
              <a:rPr lang="en-GB" dirty="0" smtClean="0"/>
              <a:t>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9227106"/>
              </p:ext>
            </p:extLst>
          </p:nvPr>
        </p:nvGraphicFramePr>
        <p:xfrm>
          <a:off x="260410" y="1047870"/>
          <a:ext cx="9123285" cy="4937760"/>
        </p:xfrm>
        <a:graphic>
          <a:graphicData uri="http://schemas.openxmlformats.org/drawingml/2006/table">
            <a:tbl>
              <a:tblPr firstRow="1" bandRow="1"/>
              <a:tblGrid>
                <a:gridCol w="952500"/>
                <a:gridCol w="1941769"/>
                <a:gridCol w="592249"/>
                <a:gridCol w="592249"/>
                <a:gridCol w="592249"/>
                <a:gridCol w="1014745"/>
                <a:gridCol w="1014745"/>
                <a:gridCol w="2422779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5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on Equity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er 1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4.74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4.59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5.14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00%</a:t>
                      </a:r>
                    </a:p>
                  </a:txBody>
                  <a:tcPr marL="48014" marR="48014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50%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-19 not evaluated under stres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Risk-based Capital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8.03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8.58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20.62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48014" marR="48014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00%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-19 not evaluated under stres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2174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</a:t>
                      </a:r>
                      <a:endParaRPr lang="en-US" sz="1000" b="0" i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2.77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2.67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2.95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-19 not evaluated under stres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 1 Risk-based Capital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6.33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6.05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16.56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-19 not evaluated under stres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2174">
                <a:tc v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airment to PPNR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,722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,795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7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Credit Losses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2,034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2,120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essed measure only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Consumer Banking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2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ed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breach amber trigger in 2019 due to increase in unsecured lending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336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Business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anking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28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Commercial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amp; Industrial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3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32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Commercial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al Estat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usiness line view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35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Global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rporate Banking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19%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09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12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2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60+ Days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st Du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8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9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concentration)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ingle Obligo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200M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20 Corporates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8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y Exposure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Financial &amp; Insuranc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6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Utilities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.0B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.1B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.2B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 product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ew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.3B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.5B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.8B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Project Financ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.22B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.40B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.31B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3.7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 smtClean="0"/>
              <a:t>SBNA Risk Appetite Limits (1/2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86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9302854"/>
              </p:ext>
            </p:extLst>
          </p:nvPr>
        </p:nvGraphicFramePr>
        <p:xfrm>
          <a:off x="260410" y="1047870"/>
          <a:ext cx="9114409" cy="4196080"/>
        </p:xfrm>
        <a:graphic>
          <a:graphicData uri="http://schemas.openxmlformats.org/drawingml/2006/table">
            <a:tbl>
              <a:tblPr firstRow="1" bandRow="1"/>
              <a:tblGrid>
                <a:gridCol w="952500"/>
                <a:gridCol w="1941769"/>
                <a:gridCol w="592249"/>
                <a:gridCol w="592249"/>
                <a:gridCol w="592249"/>
                <a:gridCol w="1014745"/>
                <a:gridCol w="1014745"/>
                <a:gridCol w="2413903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5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 Funding risk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75 day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45 day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 Ratio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US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odified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1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1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7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2174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uctural Funding Ratio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Encumbranc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4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2174">
                <a:tc v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an to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posit Ratio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.0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.6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.0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7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 risk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II 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nsitivity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-7.6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-5.9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-5.6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10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11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VE Sensitivity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-5.5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-6.1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-7.0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9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10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risk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Market Value at Risk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4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Operation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se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Revenu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al Risk E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s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3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4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 risk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Tier 1 Models in Production without Appropriate Approv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Q2016 – 47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Q2016 – 36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Q2016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33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Q2016 – 15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Q2017 – 0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and Reputation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# of OCC Enforcement Action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CFPB Complaints</a:t>
                      </a:r>
                      <a:endParaRPr lang="en-US" sz="1000" b="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4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risk customers as % of total customer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 smtClean="0"/>
              <a:t>SBNA Risk Appetite Limits (1/2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1241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ISPRING_RESOURCE_PATHS_HASH_PRESENTER" val="f01d211bc0a0c2ddcfd62f283e8fc92d14a39d5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6484</TotalTime>
  <Words>616</Words>
  <Application>Microsoft Office PowerPoint</Application>
  <PresentationFormat>Custom</PresentationFormat>
  <Paragraphs>213</Paragraphs>
  <Slides>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1_Body Slide</vt:lpstr>
      <vt:lpstr>think-cell Slide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Gonzales, Mario A</cp:lastModifiedBy>
  <cp:revision>1163</cp:revision>
  <cp:lastPrinted>2016-06-17T15:56:23Z</cp:lastPrinted>
  <dcterms:created xsi:type="dcterms:W3CDTF">2016-03-28T17:49:32Z</dcterms:created>
  <dcterms:modified xsi:type="dcterms:W3CDTF">2016-09-13T19:2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